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1" r:id="rId2"/>
  </p:sldIdLst>
  <p:sldSz cx="7556500" cy="10693400"/>
  <p:notesSz cx="6858000" cy="9144000"/>
  <p:embeddedFontLst>
    <p:embeddedFont>
      <p:font typeface="Londrina Solid" panose="00000500000000000000" pitchFamily="2" charset="0"/>
      <p:regular r:id="rId3"/>
    </p:embeddedFont>
    <p:embeddedFont>
      <p:font typeface="Londrina Solid Black" panose="00000A00000000000000" pitchFamily="2" charset="0"/>
      <p:bold r:id="rId4"/>
    </p:embeddedFont>
    <p:embeddedFont>
      <p:font typeface="Roboto Condensed" panose="02000000000000000000" pitchFamily="2" charset="0"/>
      <p:regular r:id="rId5"/>
      <p:bold r:id="rId6"/>
      <p:italic r:id="rId7"/>
      <p:boldItalic r:id="rId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>
        <p:scale>
          <a:sx n="66" d="100"/>
          <a:sy n="66" d="100"/>
        </p:scale>
        <p:origin x="2496" y="1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5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0.svg"/><Relationship Id="rId18" Type="http://schemas.openxmlformats.org/officeDocument/2006/relationships/image" Target="../media/image15.pn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9.png"/><Relationship Id="rId17" Type="http://schemas.openxmlformats.org/officeDocument/2006/relationships/image" Target="../media/image14.sv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3.pn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hyperlink" Target="mailto:jane@example.com" TargetMode="External"/><Relationship Id="rId5" Type="http://schemas.openxmlformats.org/officeDocument/2006/relationships/image" Target="../media/image3.png"/><Relationship Id="rId15" Type="http://schemas.openxmlformats.org/officeDocument/2006/relationships/image" Target="../media/image12.svg"/><Relationship Id="rId10" Type="http://schemas.openxmlformats.org/officeDocument/2006/relationships/image" Target="../media/image8.svg"/><Relationship Id="rId19" Type="http://schemas.openxmlformats.org/officeDocument/2006/relationships/image" Target="../media/image16.sv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5F1E37">
                <a:alpha val="100000"/>
              </a:srgbClr>
            </a:gs>
            <a:gs pos="100000">
              <a:srgbClr val="161717">
                <a:alpha val="100000"/>
              </a:srgbClr>
            </a:gs>
          </a:gsLst>
          <a:lin ang="54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6">
            <a:extLst>
              <a:ext uri="{FF2B5EF4-FFF2-40B4-BE49-F238E27FC236}">
                <a16:creationId xmlns:a16="http://schemas.microsoft.com/office/drawing/2014/main" id="{CE813B14-AA81-0F78-70E3-789F0F641AD1}"/>
              </a:ext>
            </a:extLst>
          </p:cNvPr>
          <p:cNvGrpSpPr/>
          <p:nvPr/>
        </p:nvGrpSpPr>
        <p:grpSpPr>
          <a:xfrm>
            <a:off x="-2487634" y="0"/>
            <a:ext cx="10860046" cy="10693400"/>
            <a:chOff x="-2487634" y="0"/>
            <a:chExt cx="10860046" cy="10693400"/>
          </a:xfrm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01CE5B9A-D787-022F-49D0-2274967E80EF}"/>
                </a:ext>
              </a:extLst>
            </p:cNvPr>
            <p:cNvSpPr/>
            <p:nvPr/>
          </p:nvSpPr>
          <p:spPr>
            <a:xfrm>
              <a:off x="0" y="0"/>
              <a:ext cx="7556500" cy="10693400"/>
            </a:xfrm>
            <a:prstGeom prst="rect">
              <a:avLst/>
            </a:prstGeom>
            <a:gradFill>
              <a:gsLst>
                <a:gs pos="0">
                  <a:srgbClr val="5F1E37">
                    <a:alpha val="100000"/>
                  </a:srgbClr>
                </a:gs>
                <a:gs pos="100000">
                  <a:srgbClr val="161717">
                    <a:alpha val="100000"/>
                  </a:srgbClr>
                </a:gs>
              </a:gsLst>
              <a:lin ang="540000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E19B0F6-4A23-58BC-AF60-C4D2AB266C9E}"/>
                </a:ext>
              </a:extLst>
            </p:cNvPr>
            <p:cNvGrpSpPr/>
            <p:nvPr/>
          </p:nvGrpSpPr>
          <p:grpSpPr>
            <a:xfrm>
              <a:off x="-2487634" y="397004"/>
              <a:ext cx="10860046" cy="8528985"/>
              <a:chOff x="-2487634" y="397004"/>
              <a:chExt cx="10860046" cy="8528985"/>
            </a:xfrm>
          </p:grpSpPr>
          <p:grpSp>
            <p:nvGrpSpPr>
              <p:cNvPr id="48" name="Group 47">
                <a:extLst>
                  <a:ext uri="{FF2B5EF4-FFF2-40B4-BE49-F238E27FC236}">
                    <a16:creationId xmlns:a16="http://schemas.microsoft.com/office/drawing/2014/main" id="{AF71E154-574E-2F2E-B808-42BCDCA8B134}"/>
                  </a:ext>
                </a:extLst>
              </p:cNvPr>
              <p:cNvGrpSpPr/>
              <p:nvPr/>
            </p:nvGrpSpPr>
            <p:grpSpPr>
              <a:xfrm>
                <a:off x="-2487634" y="1406459"/>
                <a:ext cx="10860046" cy="7519530"/>
                <a:chOff x="-2487634" y="1406459"/>
                <a:chExt cx="10860046" cy="7519530"/>
              </a:xfrm>
            </p:grpSpPr>
            <p:sp>
              <p:nvSpPr>
                <p:cNvPr id="41" name="Freeform: Shape 40">
                  <a:extLst>
                    <a:ext uri="{FF2B5EF4-FFF2-40B4-BE49-F238E27FC236}">
                      <a16:creationId xmlns:a16="http://schemas.microsoft.com/office/drawing/2014/main" id="{F60CC595-CC12-C2F8-67EF-EE1F3CF6C433}"/>
                    </a:ext>
                  </a:extLst>
                </p:cNvPr>
                <p:cNvSpPr/>
                <p:nvPr/>
              </p:nvSpPr>
              <p:spPr>
                <a:xfrm flipH="1">
                  <a:off x="5235590" y="1406459"/>
                  <a:ext cx="3136822" cy="4308323"/>
                </a:xfrm>
                <a:custGeom>
                  <a:avLst/>
                  <a:gdLst>
                    <a:gd name="connsiteX0" fmla="*/ 3136822 w 3136822"/>
                    <a:gd name="connsiteY0" fmla="*/ 0 h 4308323"/>
                    <a:gd name="connsiteX1" fmla="*/ 0 w 3136822"/>
                    <a:gd name="connsiteY1" fmla="*/ 0 h 4308323"/>
                    <a:gd name="connsiteX2" fmla="*/ 0 w 3136822"/>
                    <a:gd name="connsiteY2" fmla="*/ 598014 h 4308323"/>
                    <a:gd name="connsiteX3" fmla="*/ 815911 w 3136822"/>
                    <a:gd name="connsiteY3" fmla="*/ 598014 h 4308323"/>
                    <a:gd name="connsiteX4" fmla="*/ 815911 w 3136822"/>
                    <a:gd name="connsiteY4" fmla="*/ 4308323 h 4308323"/>
                    <a:gd name="connsiteX5" fmla="*/ 3136822 w 3136822"/>
                    <a:gd name="connsiteY5" fmla="*/ 4308323 h 43083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3136822" h="4308323">
                      <a:moveTo>
                        <a:pt x="3136822" y="0"/>
                      </a:moveTo>
                      <a:lnTo>
                        <a:pt x="0" y="0"/>
                      </a:lnTo>
                      <a:lnTo>
                        <a:pt x="0" y="598014"/>
                      </a:lnTo>
                      <a:lnTo>
                        <a:pt x="815911" y="598014"/>
                      </a:lnTo>
                      <a:lnTo>
                        <a:pt x="815911" y="4308323"/>
                      </a:lnTo>
                      <a:lnTo>
                        <a:pt x="3136822" y="4308323"/>
                      </a:lnTo>
                      <a:close/>
                    </a:path>
                  </a:pathLst>
                </a:custGeom>
                <a:blipFill>
                  <a:blip r:embed="rId3">
                    <a:alphaModFix amt="34000"/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42" name="Freeform: Shape 41">
                  <a:extLst>
                    <a:ext uri="{FF2B5EF4-FFF2-40B4-BE49-F238E27FC236}">
                      <a16:creationId xmlns:a16="http://schemas.microsoft.com/office/drawing/2014/main" id="{C79BC922-723F-87C0-A34D-D4F19D5AFB54}"/>
                    </a:ext>
                  </a:extLst>
                </p:cNvPr>
                <p:cNvSpPr/>
                <p:nvPr/>
              </p:nvSpPr>
              <p:spPr>
                <a:xfrm rot="1650812" flipH="1">
                  <a:off x="-2487634" y="2702622"/>
                  <a:ext cx="4531137" cy="6223367"/>
                </a:xfrm>
                <a:custGeom>
                  <a:avLst/>
                  <a:gdLst>
                    <a:gd name="connsiteX0" fmla="*/ 4531137 w 4531137"/>
                    <a:gd name="connsiteY0" fmla="*/ 4783152 h 6223367"/>
                    <a:gd name="connsiteX1" fmla="*/ 3780976 w 4531137"/>
                    <a:gd name="connsiteY1" fmla="*/ 6223367 h 6223367"/>
                    <a:gd name="connsiteX2" fmla="*/ 4531137 w 4531137"/>
                    <a:gd name="connsiteY2" fmla="*/ 6223367 h 6223367"/>
                    <a:gd name="connsiteX3" fmla="*/ 4531137 w 4531137"/>
                    <a:gd name="connsiteY3" fmla="*/ 0 h 6223367"/>
                    <a:gd name="connsiteX4" fmla="*/ 0 w 4531137"/>
                    <a:gd name="connsiteY4" fmla="*/ 0 h 6223367"/>
                    <a:gd name="connsiteX5" fmla="*/ 0 w 4531137"/>
                    <a:gd name="connsiteY5" fmla="*/ 6223367 h 6223367"/>
                    <a:gd name="connsiteX6" fmla="*/ 426649 w 4531137"/>
                    <a:gd name="connsiteY6" fmla="*/ 6223367 h 6223367"/>
                    <a:gd name="connsiteX7" fmla="*/ 404269 w 4531137"/>
                    <a:gd name="connsiteY7" fmla="*/ 6211710 h 6223367"/>
                    <a:gd name="connsiteX8" fmla="*/ 3449250 w 4531137"/>
                    <a:gd name="connsiteY8" fmla="*/ 365728 h 6223367"/>
                    <a:gd name="connsiteX9" fmla="*/ 4531137 w 4531137"/>
                    <a:gd name="connsiteY9" fmla="*/ 929248 h 62233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4531137" h="6223367">
                      <a:moveTo>
                        <a:pt x="4531137" y="4783152"/>
                      </a:moveTo>
                      <a:lnTo>
                        <a:pt x="3780976" y="6223367"/>
                      </a:lnTo>
                      <a:lnTo>
                        <a:pt x="4531137" y="6223367"/>
                      </a:lnTo>
                      <a:close/>
                      <a:moveTo>
                        <a:pt x="4531137" y="0"/>
                      </a:moveTo>
                      <a:lnTo>
                        <a:pt x="0" y="0"/>
                      </a:lnTo>
                      <a:lnTo>
                        <a:pt x="0" y="6223367"/>
                      </a:lnTo>
                      <a:lnTo>
                        <a:pt x="426649" y="6223367"/>
                      </a:lnTo>
                      <a:lnTo>
                        <a:pt x="404269" y="6211710"/>
                      </a:lnTo>
                      <a:lnTo>
                        <a:pt x="3449250" y="365728"/>
                      </a:lnTo>
                      <a:lnTo>
                        <a:pt x="4531137" y="929248"/>
                      </a:lnTo>
                      <a:close/>
                    </a:path>
                  </a:pathLst>
                </a:custGeom>
                <a:blipFill>
                  <a:blip r:embed="rId3">
                    <a:alphaModFix amt="34000"/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 wrap="square">
                  <a:noAutofit/>
                </a:bodyPr>
                <a:lstStyle/>
                <a:p>
                  <a:endParaRPr lang="en-US" dirty="0"/>
                </a:p>
              </p:txBody>
            </p:sp>
          </p:grp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5951E86B-9A28-7C9E-4B4F-6277C4237491}"/>
                  </a:ext>
                </a:extLst>
              </p:cNvPr>
              <p:cNvGrpSpPr/>
              <p:nvPr/>
            </p:nvGrpSpPr>
            <p:grpSpPr>
              <a:xfrm>
                <a:off x="4980700" y="397004"/>
                <a:ext cx="1076077" cy="901098"/>
                <a:chOff x="4980700" y="397004"/>
                <a:chExt cx="1076077" cy="901098"/>
              </a:xfrm>
            </p:grpSpPr>
            <p:sp>
              <p:nvSpPr>
                <p:cNvPr id="25" name="Freeform 25"/>
                <p:cNvSpPr/>
                <p:nvPr/>
              </p:nvSpPr>
              <p:spPr>
                <a:xfrm>
                  <a:off x="4980700" y="397004"/>
                  <a:ext cx="648160" cy="3922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8160" h="392289">
                      <a:moveTo>
                        <a:pt x="0" y="0"/>
                      </a:moveTo>
                      <a:lnTo>
                        <a:pt x="648161" y="0"/>
                      </a:lnTo>
                      <a:lnTo>
                        <a:pt x="648161" y="392288"/>
                      </a:lnTo>
                      <a:lnTo>
                        <a:pt x="0" y="39228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5">
                    <a:alphaModFix amt="17000"/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6" name="Freeform 26"/>
                <p:cNvSpPr/>
                <p:nvPr/>
              </p:nvSpPr>
              <p:spPr>
                <a:xfrm>
                  <a:off x="5615887" y="1031261"/>
                  <a:ext cx="440890" cy="26684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0890" h="266841">
                      <a:moveTo>
                        <a:pt x="0" y="0"/>
                      </a:moveTo>
                      <a:lnTo>
                        <a:pt x="440890" y="0"/>
                      </a:lnTo>
                      <a:lnTo>
                        <a:pt x="440890" y="266841"/>
                      </a:lnTo>
                      <a:lnTo>
                        <a:pt x="0" y="26684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5">
                    <a:alphaModFix amt="17000"/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677FF732-3010-EA87-6318-1F221CC08A59}"/>
                </a:ext>
              </a:extLst>
            </p:cNvPr>
            <p:cNvGrpSpPr/>
            <p:nvPr/>
          </p:nvGrpSpPr>
          <p:grpSpPr>
            <a:xfrm>
              <a:off x="535870" y="8226984"/>
              <a:ext cx="6488145" cy="1704254"/>
              <a:chOff x="535870" y="8226984"/>
              <a:chExt cx="6488145" cy="1704254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B803AB34-7B10-75E3-5FEA-F8D637D7A4FE}"/>
                  </a:ext>
                </a:extLst>
              </p:cNvPr>
              <p:cNvGrpSpPr/>
              <p:nvPr/>
            </p:nvGrpSpPr>
            <p:grpSpPr>
              <a:xfrm>
                <a:off x="756000" y="9561993"/>
                <a:ext cx="6048000" cy="230832"/>
                <a:chOff x="756000" y="9554577"/>
                <a:chExt cx="6048000" cy="230832"/>
              </a:xfrm>
            </p:grpSpPr>
            <p:sp>
              <p:nvSpPr>
                <p:cNvPr id="6" name="Freeform 6"/>
                <p:cNvSpPr/>
                <p:nvPr/>
              </p:nvSpPr>
              <p:spPr>
                <a:xfrm>
                  <a:off x="3596537" y="9601635"/>
                  <a:ext cx="136718" cy="1367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2291" h="182291">
                      <a:moveTo>
                        <a:pt x="0" y="0"/>
                      </a:moveTo>
                      <a:lnTo>
                        <a:pt x="182291" y="0"/>
                      </a:lnTo>
                      <a:lnTo>
                        <a:pt x="182291" y="182291"/>
                      </a:lnTo>
                      <a:lnTo>
                        <a:pt x="0" y="18229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" name="TextBox 7"/>
                <p:cNvSpPr txBox="1"/>
                <p:nvPr/>
              </p:nvSpPr>
              <p:spPr>
                <a:xfrm>
                  <a:off x="3848266" y="9605072"/>
                  <a:ext cx="946433" cy="12984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025"/>
                    </a:lnSpc>
                    <a:spcBef>
                      <a:spcPct val="0"/>
                    </a:spcBef>
                  </a:pPr>
                  <a:r>
                    <a:rPr lang="en-US" sz="1050" spc="51" dirty="0">
                      <a:solidFill>
                        <a:srgbClr val="F2E8DE"/>
                      </a:solidFill>
                      <a:latin typeface="Roboto Condensed"/>
                    </a:rPr>
                    <a:t>(555) 789-1234</a:t>
                  </a:r>
                </a:p>
              </p:txBody>
            </p:sp>
            <p:sp>
              <p:nvSpPr>
                <p:cNvPr id="8" name="Freeform 8"/>
                <p:cNvSpPr/>
                <p:nvPr/>
              </p:nvSpPr>
              <p:spPr>
                <a:xfrm>
                  <a:off x="5419747" y="9620700"/>
                  <a:ext cx="138128" cy="9858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170" h="131451">
                      <a:moveTo>
                        <a:pt x="0" y="0"/>
                      </a:moveTo>
                      <a:lnTo>
                        <a:pt x="184170" y="0"/>
                      </a:lnTo>
                      <a:lnTo>
                        <a:pt x="184170" y="131451"/>
                      </a:lnTo>
                      <a:lnTo>
                        <a:pt x="0" y="13145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9" name="TextBox 9"/>
                <p:cNvSpPr txBox="1"/>
                <p:nvPr/>
              </p:nvSpPr>
              <p:spPr>
                <a:xfrm>
                  <a:off x="5665655" y="9599461"/>
                  <a:ext cx="1138345" cy="14106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127"/>
                    </a:lnSpc>
                  </a:pPr>
                  <a:r>
                    <a:rPr lang="en-US" sz="1050" spc="51" dirty="0">
                      <a:solidFill>
                        <a:srgbClr val="F2E8DE"/>
                      </a:solidFill>
                      <a:latin typeface="Roboto Condensed"/>
                    </a:rPr>
                    <a:t>jane@example.com</a:t>
                  </a:r>
                  <a:endParaRPr lang="en-US" sz="1050" spc="51" dirty="0">
                    <a:solidFill>
                      <a:srgbClr val="F2E8DE"/>
                    </a:solidFill>
                    <a:latin typeface="Roboto Condensed"/>
                    <a:hlinkClick r:id="rId11" tooltip="mailto:jane@example.com"/>
                  </a:endParaRPr>
                </a:p>
              </p:txBody>
            </p:sp>
            <p:sp>
              <p:nvSpPr>
                <p:cNvPr id="10" name="Freeform 10"/>
                <p:cNvSpPr/>
                <p:nvPr/>
              </p:nvSpPr>
              <p:spPr>
                <a:xfrm>
                  <a:off x="2090655" y="9601534"/>
                  <a:ext cx="136919" cy="1369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2559" h="182559">
                      <a:moveTo>
                        <a:pt x="0" y="0"/>
                      </a:moveTo>
                      <a:lnTo>
                        <a:pt x="182559" y="0"/>
                      </a:lnTo>
                      <a:lnTo>
                        <a:pt x="182559" y="182560"/>
                      </a:lnTo>
                      <a:lnTo>
                        <a:pt x="0" y="18256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2">
                    <a:extLst>
                      <a:ext uri="{96DAC541-7B7A-43D3-8B79-37D633B846F1}">
                        <asvg:svgBlip xmlns:asvg="http://schemas.microsoft.com/office/drawing/2016/SVG/main" r:embed="rId13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1" name="TextBox 11"/>
                <p:cNvSpPr txBox="1"/>
                <p:nvPr/>
              </p:nvSpPr>
              <p:spPr>
                <a:xfrm>
                  <a:off x="2342384" y="9605072"/>
                  <a:ext cx="629104" cy="12984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029"/>
                    </a:lnSpc>
                    <a:spcBef>
                      <a:spcPct val="0"/>
                    </a:spcBef>
                  </a:pPr>
                  <a:r>
                    <a:rPr lang="en-US" sz="1050" spc="20" dirty="0">
                      <a:solidFill>
                        <a:srgbClr val="F2E8DE"/>
                      </a:solidFill>
                      <a:latin typeface="Roboto Condensed"/>
                    </a:rPr>
                    <a:t>Jane Smith</a:t>
                  </a:r>
                </a:p>
              </p:txBody>
            </p:sp>
            <p:sp>
              <p:nvSpPr>
                <p:cNvPr id="12" name="TextBox 12"/>
                <p:cNvSpPr txBox="1"/>
                <p:nvPr/>
              </p:nvSpPr>
              <p:spPr>
                <a:xfrm>
                  <a:off x="756000" y="9554577"/>
                  <a:ext cx="709607" cy="23083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937"/>
                    </a:lnSpc>
                  </a:pPr>
                  <a:r>
                    <a:rPr lang="en-US" sz="950" dirty="0">
                      <a:solidFill>
                        <a:srgbClr val="F2E8DE"/>
                      </a:solidFill>
                      <a:latin typeface="Roboto Condensed"/>
                    </a:rPr>
                    <a:t>CONTACT</a:t>
                  </a:r>
                </a:p>
                <a:p>
                  <a:pPr algn="ctr">
                    <a:lnSpc>
                      <a:spcPts val="937"/>
                    </a:lnSpc>
                  </a:pPr>
                  <a:r>
                    <a:rPr lang="en-US" sz="950" dirty="0">
                      <a:solidFill>
                        <a:srgbClr val="F2E8DE"/>
                      </a:solidFill>
                      <a:latin typeface="Roboto Condensed"/>
                    </a:rPr>
                    <a:t>INFORMATION</a:t>
                  </a:r>
                </a:p>
              </p:txBody>
            </p:sp>
          </p:grpSp>
          <p:sp>
            <p:nvSpPr>
              <p:cNvPr id="19" name="AutoShape 19"/>
              <p:cNvSpPr/>
              <p:nvPr/>
            </p:nvSpPr>
            <p:spPr>
              <a:xfrm>
                <a:off x="535870" y="9423579"/>
                <a:ext cx="6488145" cy="0"/>
              </a:xfrm>
              <a:prstGeom prst="line">
                <a:avLst/>
              </a:prstGeom>
              <a:ln w="9525" cap="flat">
                <a:solidFill>
                  <a:srgbClr val="F2E8DE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" name="AutoShape 20"/>
              <p:cNvSpPr/>
              <p:nvPr/>
            </p:nvSpPr>
            <p:spPr>
              <a:xfrm>
                <a:off x="535870" y="8226984"/>
                <a:ext cx="6488145" cy="0"/>
              </a:xfrm>
              <a:prstGeom prst="line">
                <a:avLst/>
              </a:prstGeom>
              <a:ln w="9525" cap="flat">
                <a:solidFill>
                  <a:srgbClr val="F2E8DE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AutoShape 22"/>
              <p:cNvSpPr/>
              <p:nvPr/>
            </p:nvSpPr>
            <p:spPr>
              <a:xfrm>
                <a:off x="535870" y="9931238"/>
                <a:ext cx="6488145" cy="0"/>
              </a:xfrm>
              <a:prstGeom prst="line">
                <a:avLst/>
              </a:prstGeom>
              <a:ln w="9525" cap="flat">
                <a:solidFill>
                  <a:srgbClr val="F2E8DE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FD47DDDC-1BCD-204D-1C51-4346461040A8}"/>
                  </a:ext>
                </a:extLst>
              </p:cNvPr>
              <p:cNvGrpSpPr/>
              <p:nvPr/>
            </p:nvGrpSpPr>
            <p:grpSpPr>
              <a:xfrm>
                <a:off x="756000" y="8603122"/>
                <a:ext cx="6048000" cy="444319"/>
                <a:chOff x="756000" y="8610265"/>
                <a:chExt cx="6048000" cy="444319"/>
              </a:xfrm>
            </p:grpSpPr>
            <p:sp>
              <p:nvSpPr>
                <p:cNvPr id="29" name="Freeform 29"/>
                <p:cNvSpPr/>
                <p:nvPr/>
              </p:nvSpPr>
              <p:spPr>
                <a:xfrm>
                  <a:off x="1996000" y="8726713"/>
                  <a:ext cx="207701" cy="2114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935" h="281896">
                      <a:moveTo>
                        <a:pt x="0" y="0"/>
                      </a:moveTo>
                      <a:lnTo>
                        <a:pt x="276935" y="0"/>
                      </a:lnTo>
                      <a:lnTo>
                        <a:pt x="276935" y="281896"/>
                      </a:lnTo>
                      <a:lnTo>
                        <a:pt x="0" y="28189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4">
                    <a:extLst>
                      <a:ext uri="{96DAC541-7B7A-43D3-8B79-37D633B846F1}">
                        <asvg:svgBlip xmlns:asvg="http://schemas.microsoft.com/office/drawing/2016/SVG/main" r:embed="rId15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0" name="Freeform 30"/>
                <p:cNvSpPr/>
                <p:nvPr/>
              </p:nvSpPr>
              <p:spPr>
                <a:xfrm>
                  <a:off x="3894152" y="8726713"/>
                  <a:ext cx="207701" cy="2114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935" h="281896">
                      <a:moveTo>
                        <a:pt x="0" y="0"/>
                      </a:moveTo>
                      <a:lnTo>
                        <a:pt x="276935" y="0"/>
                      </a:lnTo>
                      <a:lnTo>
                        <a:pt x="276935" y="281896"/>
                      </a:lnTo>
                      <a:lnTo>
                        <a:pt x="0" y="28189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4">
                    <a:extLst>
                      <a:ext uri="{96DAC541-7B7A-43D3-8B79-37D633B846F1}">
                        <asvg:svgBlip xmlns:asvg="http://schemas.microsoft.com/office/drawing/2016/SVG/main" r:embed="rId15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1" name="Freeform 31"/>
                <p:cNvSpPr/>
                <p:nvPr/>
              </p:nvSpPr>
              <p:spPr>
                <a:xfrm>
                  <a:off x="5625289" y="8726713"/>
                  <a:ext cx="207701" cy="2114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935" h="281896">
                      <a:moveTo>
                        <a:pt x="0" y="0"/>
                      </a:moveTo>
                      <a:lnTo>
                        <a:pt x="276935" y="0"/>
                      </a:lnTo>
                      <a:lnTo>
                        <a:pt x="276935" y="281896"/>
                      </a:lnTo>
                      <a:lnTo>
                        <a:pt x="0" y="28189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4">
                    <a:extLst>
                      <a:ext uri="{96DAC541-7B7A-43D3-8B79-37D633B846F1}">
                        <asvg:svgBlip xmlns:asvg="http://schemas.microsoft.com/office/drawing/2016/SVG/main" r:embed="rId15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2" name="TextBox 32"/>
                <p:cNvSpPr txBox="1"/>
                <p:nvPr/>
              </p:nvSpPr>
              <p:spPr>
                <a:xfrm>
                  <a:off x="756000" y="8610265"/>
                  <a:ext cx="919490" cy="44431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653"/>
                    </a:lnSpc>
                  </a:pPr>
                  <a:r>
                    <a:rPr lang="en-US" sz="1650" dirty="0">
                      <a:solidFill>
                        <a:srgbClr val="F2E8DE"/>
                      </a:solidFill>
                      <a:latin typeface="Londrina Solid Black" panose="00000A00000000000000" pitchFamily="2" charset="0"/>
                    </a:rPr>
                    <a:t>COSTUME CONTEST </a:t>
                  </a:r>
                </a:p>
              </p:txBody>
            </p:sp>
            <p:sp>
              <p:nvSpPr>
                <p:cNvPr id="33" name="TextBox 33"/>
                <p:cNvSpPr txBox="1"/>
                <p:nvPr/>
              </p:nvSpPr>
              <p:spPr>
                <a:xfrm>
                  <a:off x="2524211" y="8610265"/>
                  <a:ext cx="1049431" cy="44431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653"/>
                    </a:lnSpc>
                  </a:pPr>
                  <a:r>
                    <a:rPr lang="en-US" sz="1650" dirty="0">
                      <a:solidFill>
                        <a:srgbClr val="F2E8DE"/>
                      </a:solidFill>
                      <a:latin typeface="Londrina Solid Black" panose="00000A00000000000000" pitchFamily="2" charset="0"/>
                    </a:rPr>
                    <a:t>PUMPKIN CARVING</a:t>
                  </a:r>
                </a:p>
              </p:txBody>
            </p:sp>
            <p:sp>
              <p:nvSpPr>
                <p:cNvPr id="34" name="TextBox 34"/>
                <p:cNvSpPr txBox="1"/>
                <p:nvPr/>
              </p:nvSpPr>
              <p:spPr>
                <a:xfrm>
                  <a:off x="4422363" y="8610265"/>
                  <a:ext cx="882416" cy="44431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653"/>
                    </a:lnSpc>
                  </a:pPr>
                  <a:r>
                    <a:rPr lang="en-US" sz="1650" dirty="0">
                      <a:solidFill>
                        <a:srgbClr val="F2E8DE"/>
                      </a:solidFill>
                      <a:latin typeface="Londrina Solid Black" panose="00000A00000000000000" pitchFamily="2" charset="0"/>
                    </a:rPr>
                    <a:t>TRUNK OR TREAT</a:t>
                  </a:r>
                </a:p>
              </p:txBody>
            </p:sp>
            <p:sp>
              <p:nvSpPr>
                <p:cNvPr id="35" name="TextBox 35"/>
                <p:cNvSpPr txBox="1"/>
                <p:nvPr/>
              </p:nvSpPr>
              <p:spPr>
                <a:xfrm>
                  <a:off x="6153503" y="8610265"/>
                  <a:ext cx="650497" cy="444319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algn="ctr">
                    <a:lnSpc>
                      <a:spcPts val="1653"/>
                    </a:lnSpc>
                  </a:pPr>
                  <a:r>
                    <a:rPr lang="en-US" sz="1650" dirty="0">
                      <a:solidFill>
                        <a:srgbClr val="F2E8DE"/>
                      </a:solidFill>
                      <a:latin typeface="Londrina Solid Black" panose="00000A00000000000000" pitchFamily="2" charset="0"/>
                    </a:rPr>
                    <a:t>LIVE MUSIC</a:t>
                  </a:r>
                </a:p>
              </p:txBody>
            </p:sp>
          </p:grpSp>
        </p:grp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26AFBE7-2070-377E-2DEA-F25520EF4E54}"/>
                </a:ext>
              </a:extLst>
            </p:cNvPr>
            <p:cNvSpPr/>
            <p:nvPr/>
          </p:nvSpPr>
          <p:spPr>
            <a:xfrm rot="-211796" flipH="1">
              <a:off x="979393" y="4588982"/>
              <a:ext cx="7058184" cy="3387929"/>
            </a:xfrm>
            <a:custGeom>
              <a:avLst/>
              <a:gdLst>
                <a:gd name="connsiteX0" fmla="*/ 0 w 7058184"/>
                <a:gd name="connsiteY0" fmla="*/ 0 h 3387929"/>
                <a:gd name="connsiteX1" fmla="*/ 0 w 7058184"/>
                <a:gd name="connsiteY1" fmla="*/ 515568 h 3387929"/>
                <a:gd name="connsiteX2" fmla="*/ 401064 w 7058184"/>
                <a:gd name="connsiteY2" fmla="*/ 490828 h 3387929"/>
                <a:gd name="connsiteX3" fmla="*/ 499737 w 7058184"/>
                <a:gd name="connsiteY3" fmla="*/ 2090401 h 3387929"/>
                <a:gd name="connsiteX4" fmla="*/ 11715 w 7058184"/>
                <a:gd name="connsiteY4" fmla="*/ 2120505 h 3387929"/>
                <a:gd name="connsiteX5" fmla="*/ 0 w 7058184"/>
                <a:gd name="connsiteY5" fmla="*/ 1930597 h 3387929"/>
                <a:gd name="connsiteX6" fmla="*/ 0 w 7058184"/>
                <a:gd name="connsiteY6" fmla="*/ 3387929 h 3387929"/>
                <a:gd name="connsiteX7" fmla="*/ 7058184 w 7058184"/>
                <a:gd name="connsiteY7" fmla="*/ 3387929 h 3387929"/>
                <a:gd name="connsiteX8" fmla="*/ 7058184 w 7058184"/>
                <a:gd name="connsiteY8" fmla="*/ 0 h 33879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058184" h="3387929">
                  <a:moveTo>
                    <a:pt x="0" y="0"/>
                  </a:moveTo>
                  <a:lnTo>
                    <a:pt x="0" y="515568"/>
                  </a:lnTo>
                  <a:lnTo>
                    <a:pt x="401064" y="490828"/>
                  </a:lnTo>
                  <a:lnTo>
                    <a:pt x="499737" y="2090401"/>
                  </a:lnTo>
                  <a:lnTo>
                    <a:pt x="11715" y="2120505"/>
                  </a:lnTo>
                  <a:lnTo>
                    <a:pt x="0" y="1930597"/>
                  </a:lnTo>
                  <a:lnTo>
                    <a:pt x="0" y="3387929"/>
                  </a:lnTo>
                  <a:lnTo>
                    <a:pt x="7058184" y="3387929"/>
                  </a:lnTo>
                  <a:lnTo>
                    <a:pt x="7058184" y="0"/>
                  </a:lnTo>
                  <a:close/>
                </a:path>
              </a:pathLst>
            </a:custGeom>
            <a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a:blipFill>
          </p:spPr>
          <p:txBody>
            <a:bodyPr wrap="square">
              <a:noAutofit/>
            </a:bodyPr>
            <a:lstStyle/>
            <a:p>
              <a:endParaRPr lang="en-US" dirty="0"/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25EC6F4-AFA8-8E3F-6516-62487991C7D5}"/>
                </a:ext>
              </a:extLst>
            </p:cNvPr>
            <p:cNvGrpSpPr/>
            <p:nvPr/>
          </p:nvGrpSpPr>
          <p:grpSpPr>
            <a:xfrm>
              <a:off x="651491" y="828440"/>
              <a:ext cx="5315215" cy="2808748"/>
              <a:chOff x="651491" y="828440"/>
              <a:chExt cx="5315215" cy="2808748"/>
            </a:xfrm>
          </p:grpSpPr>
          <p:grpSp>
            <p:nvGrpSpPr>
              <p:cNvPr id="44" name="Group 43">
                <a:extLst>
                  <a:ext uri="{FF2B5EF4-FFF2-40B4-BE49-F238E27FC236}">
                    <a16:creationId xmlns:a16="http://schemas.microsoft.com/office/drawing/2014/main" id="{4E97C4AA-323C-9B78-B460-F31CD1CEEDB1}"/>
                  </a:ext>
                </a:extLst>
              </p:cNvPr>
              <p:cNvGrpSpPr/>
              <p:nvPr/>
            </p:nvGrpSpPr>
            <p:grpSpPr>
              <a:xfrm>
                <a:off x="4553746" y="2094546"/>
                <a:ext cx="1412960" cy="1412960"/>
                <a:chOff x="4553746" y="2094546"/>
                <a:chExt cx="1412960" cy="1412960"/>
              </a:xfrm>
            </p:grpSpPr>
            <p:sp>
              <p:nvSpPr>
                <p:cNvPr id="14" name="Freeform 14"/>
                <p:cNvSpPr/>
                <p:nvPr/>
              </p:nvSpPr>
              <p:spPr>
                <a:xfrm rot="472142">
                  <a:off x="4553746" y="2094546"/>
                  <a:ext cx="1412960" cy="14129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lnTo>
                        <a:pt x="466396" y="87561"/>
                      </a:lnTo>
                      <a:lnTo>
                        <a:pt x="553838" y="27679"/>
                      </a:lnTo>
                      <a:lnTo>
                        <a:pt x="578287" y="131093"/>
                      </a:lnTo>
                      <a:lnTo>
                        <a:pt x="681363" y="106978"/>
                      </a:lnTo>
                      <a:lnTo>
                        <a:pt x="666963" y="212279"/>
                      </a:lnTo>
                      <a:lnTo>
                        <a:pt x="771752" y="227186"/>
                      </a:lnTo>
                      <a:lnTo>
                        <a:pt x="720448" y="320152"/>
                      </a:lnTo>
                      <a:lnTo>
                        <a:pt x="812800" y="372069"/>
                      </a:lnTo>
                      <a:lnTo>
                        <a:pt x="731520" y="440145"/>
                      </a:lnTo>
                      <a:lnTo>
                        <a:pt x="798961" y="522061"/>
                      </a:lnTo>
                      <a:lnTo>
                        <a:pt x="698682" y="556053"/>
                      </a:lnTo>
                      <a:lnTo>
                        <a:pt x="732104" y="656904"/>
                      </a:lnTo>
                      <a:lnTo>
                        <a:pt x="626370" y="652219"/>
                      </a:lnTo>
                      <a:lnTo>
                        <a:pt x="621259" y="758384"/>
                      </a:lnTo>
                      <a:lnTo>
                        <a:pt x="524350" y="715658"/>
                      </a:lnTo>
                      <a:lnTo>
                        <a:pt x="481396" y="812800"/>
                      </a:lnTo>
                      <a:lnTo>
                        <a:pt x="406400" y="737801"/>
                      </a:lnTo>
                      <a:lnTo>
                        <a:pt x="331404" y="812800"/>
                      </a:lnTo>
                      <a:lnTo>
                        <a:pt x="288450" y="715658"/>
                      </a:lnTo>
                      <a:lnTo>
                        <a:pt x="191541" y="758384"/>
                      </a:lnTo>
                      <a:lnTo>
                        <a:pt x="186430" y="652219"/>
                      </a:lnTo>
                      <a:lnTo>
                        <a:pt x="80696" y="656904"/>
                      </a:lnTo>
                      <a:lnTo>
                        <a:pt x="114118" y="556053"/>
                      </a:lnTo>
                      <a:lnTo>
                        <a:pt x="13839" y="522061"/>
                      </a:lnTo>
                      <a:lnTo>
                        <a:pt x="81280" y="440145"/>
                      </a:lnTo>
                      <a:lnTo>
                        <a:pt x="0" y="372069"/>
                      </a:lnTo>
                      <a:lnTo>
                        <a:pt x="92352" y="320152"/>
                      </a:lnTo>
                      <a:lnTo>
                        <a:pt x="41047" y="227186"/>
                      </a:lnTo>
                      <a:lnTo>
                        <a:pt x="145837" y="212279"/>
                      </a:lnTo>
                      <a:lnTo>
                        <a:pt x="131437" y="106978"/>
                      </a:lnTo>
                      <a:lnTo>
                        <a:pt x="234513" y="131093"/>
                      </a:lnTo>
                      <a:lnTo>
                        <a:pt x="258962" y="27679"/>
                      </a:lnTo>
                      <a:lnTo>
                        <a:pt x="346404" y="87561"/>
                      </a:lnTo>
                      <a:lnTo>
                        <a:pt x="406400" y="0"/>
                      </a:lnTo>
                      <a:close/>
                    </a:path>
                  </a:pathLst>
                </a:custGeom>
                <a:solidFill>
                  <a:srgbClr val="FCBF3F"/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43" name="Group 42">
                  <a:extLst>
                    <a:ext uri="{FF2B5EF4-FFF2-40B4-BE49-F238E27FC236}">
                      <a16:creationId xmlns:a16="http://schemas.microsoft.com/office/drawing/2014/main" id="{3D3D98B5-6755-7C5E-75DE-55DDB124E738}"/>
                    </a:ext>
                  </a:extLst>
                </p:cNvPr>
                <p:cNvGrpSpPr/>
                <p:nvPr/>
              </p:nvGrpSpPr>
              <p:grpSpPr>
                <a:xfrm>
                  <a:off x="4880609" y="2503814"/>
                  <a:ext cx="764098" cy="663520"/>
                  <a:chOff x="4880609" y="2503814"/>
                  <a:chExt cx="764098" cy="663520"/>
                </a:xfrm>
              </p:grpSpPr>
              <p:sp>
                <p:nvSpPr>
                  <p:cNvPr id="17" name="TextBox 17"/>
                  <p:cNvSpPr txBox="1"/>
                  <p:nvPr/>
                </p:nvSpPr>
                <p:spPr>
                  <a:xfrm rot="472142">
                    <a:off x="4880609" y="2503814"/>
                    <a:ext cx="764098" cy="551433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4269"/>
                      </a:lnSpc>
                    </a:pPr>
                    <a:r>
                      <a:rPr lang="en-US" sz="4350" spc="-191" dirty="0">
                        <a:solidFill>
                          <a:srgbClr val="5B1D35"/>
                        </a:solidFill>
                        <a:latin typeface="Londrina Solid"/>
                      </a:rPr>
                      <a:t>$20</a:t>
                    </a:r>
                  </a:p>
                </p:txBody>
              </p:sp>
              <p:sp>
                <p:nvSpPr>
                  <p:cNvPr id="18" name="TextBox 18"/>
                  <p:cNvSpPr txBox="1"/>
                  <p:nvPr/>
                </p:nvSpPr>
                <p:spPr>
                  <a:xfrm rot="472142">
                    <a:off x="4883346" y="3023864"/>
                    <a:ext cx="685957" cy="143470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080"/>
                      </a:lnSpc>
                    </a:pPr>
                    <a:r>
                      <a:rPr lang="en-US" sz="1050" dirty="0">
                        <a:solidFill>
                          <a:srgbClr val="5B1D35"/>
                        </a:solidFill>
                        <a:latin typeface="Londrina Solid Black" panose="00000A00000000000000" pitchFamily="2" charset="0"/>
                      </a:rPr>
                      <a:t>ENTRY FEE</a:t>
                    </a:r>
                  </a:p>
                </p:txBody>
              </p:sp>
            </p:grpSp>
          </p:grpSp>
          <p:sp>
            <p:nvSpPr>
              <p:cNvPr id="21" name="AutoShape 21"/>
              <p:cNvSpPr/>
              <p:nvPr/>
            </p:nvSpPr>
            <p:spPr>
              <a:xfrm>
                <a:off x="651491" y="3048129"/>
                <a:ext cx="3083540" cy="0"/>
              </a:xfrm>
              <a:prstGeom prst="line">
                <a:avLst/>
              </a:prstGeom>
              <a:ln w="9525" cap="flat">
                <a:solidFill>
                  <a:srgbClr val="F2E8DE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TextBox 23"/>
              <p:cNvSpPr txBox="1"/>
              <p:nvPr/>
            </p:nvSpPr>
            <p:spPr>
              <a:xfrm>
                <a:off x="651491" y="1577909"/>
                <a:ext cx="4666577" cy="90236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7049"/>
                  </a:lnSpc>
                </a:pPr>
                <a:r>
                  <a:rPr lang="en-US" sz="7400" dirty="0">
                    <a:solidFill>
                      <a:srgbClr val="FCBF3F"/>
                    </a:solidFill>
                    <a:latin typeface="Londrina Solid"/>
                  </a:rPr>
                  <a:t>SHOWCASE</a:t>
                </a:r>
              </a:p>
            </p:txBody>
          </p:sp>
          <p:sp>
            <p:nvSpPr>
              <p:cNvPr id="24" name="TextBox 24"/>
              <p:cNvSpPr txBox="1"/>
              <p:nvPr/>
            </p:nvSpPr>
            <p:spPr>
              <a:xfrm>
                <a:off x="651491" y="828440"/>
                <a:ext cx="4666577" cy="72122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5592"/>
                  </a:lnSpc>
                </a:pPr>
                <a:r>
                  <a:rPr lang="en-US" sz="5900" dirty="0">
                    <a:solidFill>
                      <a:srgbClr val="F2E8DE"/>
                    </a:solidFill>
                    <a:latin typeface="Londrina Solid"/>
                  </a:rPr>
                  <a:t>GHOSTLY RIDES</a:t>
                </a:r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651491" y="3104294"/>
                <a:ext cx="3073702" cy="32986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2691"/>
                  </a:lnSpc>
                </a:pPr>
                <a:r>
                  <a:rPr lang="en-US" sz="1900" dirty="0">
                    <a:solidFill>
                      <a:srgbClr val="F2E8DE"/>
                    </a:solidFill>
                    <a:latin typeface="Londrina Solid"/>
                  </a:rPr>
                  <a:t>AT TOWN SQUARE PARKING LOT</a:t>
                </a:r>
              </a:p>
            </p:txBody>
          </p:sp>
          <p:sp>
            <p:nvSpPr>
              <p:cNvPr id="36" name="TextBox 36"/>
              <p:cNvSpPr txBox="1"/>
              <p:nvPr/>
            </p:nvSpPr>
            <p:spPr>
              <a:xfrm>
                <a:off x="651491" y="2673086"/>
                <a:ext cx="3065111" cy="2807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2156"/>
                  </a:lnSpc>
                  <a:spcBef>
                    <a:spcPct val="0"/>
                  </a:spcBef>
                </a:pPr>
                <a:r>
                  <a:rPr lang="en-US" sz="1900" u="none" spc="-53" dirty="0">
                    <a:solidFill>
                      <a:srgbClr val="F2E8DE"/>
                    </a:solidFill>
                    <a:latin typeface="Londrina Solid"/>
                  </a:rPr>
                  <a:t>OCTOBER 20TH  |  2.00 PM - 6:00 PM</a:t>
                </a:r>
              </a:p>
            </p:txBody>
          </p:sp>
          <p:sp>
            <p:nvSpPr>
              <p:cNvPr id="37" name="TextBox 37"/>
              <p:cNvSpPr txBox="1"/>
              <p:nvPr/>
            </p:nvSpPr>
            <p:spPr>
              <a:xfrm>
                <a:off x="651491" y="3430843"/>
                <a:ext cx="2388028" cy="20634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697"/>
                  </a:lnSpc>
                </a:pPr>
                <a:r>
                  <a:rPr lang="en-US" sz="1200" dirty="0">
                    <a:solidFill>
                      <a:srgbClr val="F2E8DE"/>
                    </a:solidFill>
                    <a:latin typeface="Roboto Condensed"/>
                  </a:rPr>
                  <a:t>123 Anywhere St., Any Town, ST 12345</a:t>
                </a:r>
              </a:p>
            </p:txBody>
          </p:sp>
        </p:grpSp>
        <p:sp>
          <p:nvSpPr>
            <p:cNvPr id="38" name="TemplateLAB"/>
            <p:cNvSpPr/>
            <p:nvPr/>
          </p:nvSpPr>
          <p:spPr>
            <a:xfrm rot="-602230">
              <a:off x="2580469" y="5350214"/>
              <a:ext cx="564680" cy="93172"/>
            </a:xfrm>
            <a:custGeom>
              <a:avLst/>
              <a:gdLst/>
              <a:ahLst/>
              <a:cxnLst/>
              <a:rect l="l" t="t" r="r" b="b"/>
              <a:pathLst>
                <a:path w="564680" h="93172">
                  <a:moveTo>
                    <a:pt x="0" y="0"/>
                  </a:moveTo>
                  <a:lnTo>
                    <a:pt x="564680" y="0"/>
                  </a:lnTo>
                  <a:lnTo>
                    <a:pt x="564680" y="93173"/>
                  </a:lnTo>
                  <a:lnTo>
                    <a:pt x="0" y="9317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</TotalTime>
  <Words>51</Words>
  <Application>Microsoft Office PowerPoint</Application>
  <PresentationFormat>Custom</PresentationFormat>
  <Paragraphs>16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Londrina Solid Black</vt:lpstr>
      <vt:lpstr>Calibri</vt:lpstr>
      <vt:lpstr>Arial</vt:lpstr>
      <vt:lpstr>Londrina Solid</vt:lpstr>
      <vt:lpstr>Roboto Condense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Car show flyer templates</dc:title>
  <dc:creator>Hoang Anh</dc:creator>
  <cp:lastModifiedBy>Hoang Anh</cp:lastModifiedBy>
  <cp:revision>32</cp:revision>
  <dcterms:created xsi:type="dcterms:W3CDTF">2006-08-16T00:00:00Z</dcterms:created>
  <dcterms:modified xsi:type="dcterms:W3CDTF">2024-04-05T04:36:27Z</dcterms:modified>
  <dc:identifier>DAGBdxiAhKc</dc:identifier>
</cp:coreProperties>
</file>